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10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A5A5A"/>
    <a:srgbClr val="8D8D8D"/>
    <a:srgbClr val="C60018"/>
    <a:srgbClr val="444444"/>
    <a:srgbClr val="F6F6F6"/>
    <a:srgbClr val="E5E5E5"/>
    <a:srgbClr val="A8A8A8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0" d="100"/>
          <a:sy n="150" d="100"/>
        </p:scale>
        <p:origin x="576" y="120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AE727E4-6F43-44DC-80B3-36DB1D4310CD}"/>
    <pc:docChg chg="custSel addSld delSld modSld">
      <pc:chgData name="Meyer Raphael (PAR-ES)" userId="79615dfe-ed48-4e74-a40f-4f7b034c1c27" providerId="ADAL" clId="{6AE727E4-6F43-44DC-80B3-36DB1D4310CD}" dt="2022-03-03T13:44:37.218" v="37" actId="2890"/>
      <pc:docMkLst>
        <pc:docMk/>
      </pc:docMkLst>
      <pc:sldChg chg="addSp delSp modSp mod">
        <pc:chgData name="Meyer Raphael (PAR-ES)" userId="79615dfe-ed48-4e74-a40f-4f7b034c1c27" providerId="ADAL" clId="{6AE727E4-6F43-44DC-80B3-36DB1D4310CD}" dt="2022-03-03T13:43:39.923" v="33" actId="692"/>
        <pc:sldMkLst>
          <pc:docMk/>
          <pc:sldMk cId="3808035539" sldId="270"/>
        </pc:sldMkLst>
        <pc:spChg chg="del">
          <ac:chgData name="Meyer Raphael (PAR-ES)" userId="79615dfe-ed48-4e74-a40f-4f7b034c1c27" providerId="ADAL" clId="{6AE727E4-6F43-44DC-80B3-36DB1D4310CD}" dt="2022-03-03T13:37:54.951" v="8" actId="478"/>
          <ac:spMkLst>
            <pc:docMk/>
            <pc:sldMk cId="3808035539" sldId="270"/>
            <ac:spMk id="3" creationId="{00000000-0000-0000-0000-000000000000}"/>
          </ac:spMkLst>
        </pc:spChg>
        <pc:spChg chg="del">
          <ac:chgData name="Meyer Raphael (PAR-ES)" userId="79615dfe-ed48-4e74-a40f-4f7b034c1c27" providerId="ADAL" clId="{6AE727E4-6F43-44DC-80B3-36DB1D4310CD}" dt="2022-03-03T13:37:52.046" v="7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6AE727E4-6F43-44DC-80B3-36DB1D4310CD}" dt="2022-03-03T13:36:54.987" v="2"/>
          <ac:spMkLst>
            <pc:docMk/>
            <pc:sldMk cId="3808035539" sldId="270"/>
            <ac:spMk id="11" creationId="{C872468D-648C-44F5-8DF7-75B41720E3E9}"/>
          </ac:spMkLst>
        </pc:spChg>
        <pc:spChg chg="add mod">
          <ac:chgData name="Meyer Raphael (PAR-ES)" userId="79615dfe-ed48-4e74-a40f-4f7b034c1c27" providerId="ADAL" clId="{6AE727E4-6F43-44DC-80B3-36DB1D4310CD}" dt="2022-03-03T13:37:39.851" v="6" actId="20577"/>
          <ac:spMkLst>
            <pc:docMk/>
            <pc:sldMk cId="3808035539" sldId="270"/>
            <ac:spMk id="12" creationId="{5951AA1F-1F78-4199-A377-9885C86C21AF}"/>
          </ac:spMkLst>
        </pc:spChg>
        <pc:spChg chg="add mod">
          <ac:chgData name="Meyer Raphael (PAR-ES)" userId="79615dfe-ed48-4e74-a40f-4f7b034c1c27" providerId="ADAL" clId="{6AE727E4-6F43-44DC-80B3-36DB1D4310CD}" dt="2022-03-03T13:39:32.361" v="15"/>
          <ac:spMkLst>
            <pc:docMk/>
            <pc:sldMk cId="3808035539" sldId="270"/>
            <ac:spMk id="13" creationId="{529F12DD-D362-4327-A51F-7014752CAD03}"/>
          </ac:spMkLst>
        </pc:spChg>
        <pc:graphicFrameChg chg="mod">
          <ac:chgData name="Meyer Raphael (PAR-ES)" userId="79615dfe-ed48-4e74-a40f-4f7b034c1c27" providerId="ADAL" clId="{6AE727E4-6F43-44DC-80B3-36DB1D4310CD}" dt="2022-03-03T13:43:39.923" v="33" actId="692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del">
          <ac:chgData name="Meyer Raphael (PAR-ES)" userId="79615dfe-ed48-4e74-a40f-4f7b034c1c27" providerId="ADAL" clId="{6AE727E4-6F43-44DC-80B3-36DB1D4310CD}" dt="2022-03-03T13:39:44.942" v="16" actId="478"/>
          <ac:cxnSpMkLst>
            <pc:docMk/>
            <pc:sldMk cId="3808035539" sldId="270"/>
            <ac:cxnSpMk id="6" creationId="{00000000-0000-0000-0000-000000000000}"/>
          </ac:cxnSpMkLst>
        </pc:cxnChg>
        <pc:cxnChg chg="del">
          <ac:chgData name="Meyer Raphael (PAR-ES)" userId="79615dfe-ed48-4e74-a40f-4f7b034c1c27" providerId="ADAL" clId="{6AE727E4-6F43-44DC-80B3-36DB1D4310CD}" dt="2022-03-03T13:40:44.423" v="28" actId="478"/>
          <ac:cxnSpMkLst>
            <pc:docMk/>
            <pc:sldMk cId="3808035539" sldId="270"/>
            <ac:cxnSpMk id="8" creationId="{11B600A0-14BD-4B20-9F81-BA2BC862A1DB}"/>
          </ac:cxnSpMkLst>
        </pc:cxnChg>
      </pc:sldChg>
      <pc:sldChg chg="add">
        <pc:chgData name="Meyer Raphael (PAR-ES)" userId="79615dfe-ed48-4e74-a40f-4f7b034c1c27" providerId="ADAL" clId="{6AE727E4-6F43-44DC-80B3-36DB1D4310CD}" dt="2022-03-03T13:44:34.313" v="35" actId="2890"/>
        <pc:sldMkLst>
          <pc:docMk/>
          <pc:sldMk cId="421447817" sldId="271"/>
        </pc:sldMkLst>
      </pc:sldChg>
      <pc:sldChg chg="add">
        <pc:chgData name="Meyer Raphael (PAR-ES)" userId="79615dfe-ed48-4e74-a40f-4f7b034c1c27" providerId="ADAL" clId="{6AE727E4-6F43-44DC-80B3-36DB1D4310CD}" dt="2022-03-03T13:44:36.416" v="36" actId="2890"/>
        <pc:sldMkLst>
          <pc:docMk/>
          <pc:sldMk cId="1823063743" sldId="272"/>
        </pc:sldMkLst>
      </pc:sldChg>
      <pc:sldChg chg="add">
        <pc:chgData name="Meyer Raphael (PAR-ES)" userId="79615dfe-ed48-4e74-a40f-4f7b034c1c27" providerId="ADAL" clId="{6AE727E4-6F43-44DC-80B3-36DB1D4310CD}" dt="2022-03-03T13:44:37.218" v="37" actId="2890"/>
        <pc:sldMkLst>
          <pc:docMk/>
          <pc:sldMk cId="3044751883" sldId="273"/>
        </pc:sldMkLst>
      </pc:sldChg>
      <pc:sldChg chg="del">
        <pc:chgData name="Meyer Raphael (PAR-ES)" userId="79615dfe-ed48-4e74-a40f-4f7b034c1c27" providerId="ADAL" clId="{6AE727E4-6F43-44DC-80B3-36DB1D4310CD}" dt="2022-03-03T13:44:22.569" v="34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2588595-EFD6-4111-82AA-6B3A3E3A0367}"/>
    <pc:docChg chg="delSld">
      <pc:chgData name="Meyer Raphael (PAR-ES)" userId="79615dfe-ed48-4e74-a40f-4f7b034c1c27" providerId="ADAL" clId="{E2588595-EFD6-4111-82AA-6B3A3E3A0367}" dt="2022-03-03T14:53:17.525" v="1" actId="47"/>
      <pc:docMkLst>
        <pc:docMk/>
      </pc:docMkLst>
      <pc:sldChg chg="del">
        <pc:chgData name="Meyer Raphael (PAR-ES)" userId="79615dfe-ed48-4e74-a40f-4f7b034c1c27" providerId="ADAL" clId="{E2588595-EFD6-4111-82AA-6B3A3E3A0367}" dt="2022-03-03T14:53:13.265" v="0" actId="47"/>
        <pc:sldMkLst>
          <pc:docMk/>
          <pc:sldMk cId="2001825019" sldId="407"/>
        </pc:sldMkLst>
      </pc:sldChg>
      <pc:sldChg chg="del">
        <pc:chgData name="Meyer Raphael (PAR-ES)" userId="79615dfe-ed48-4e74-a40f-4f7b034c1c27" providerId="ADAL" clId="{E2588595-EFD6-4111-82AA-6B3A3E3A0367}" dt="2022-03-03T14:53:17.525" v="1" actId="47"/>
        <pc:sldMkLst>
          <pc:docMk/>
          <pc:sldMk cId="2775483100" sldId="408"/>
        </pc:sldMkLst>
      </pc:sldChg>
      <pc:sldChg chg="del">
        <pc:chgData name="Meyer Raphael (PAR-ES)" userId="79615dfe-ed48-4e74-a40f-4f7b034c1c27" providerId="ADAL" clId="{E2588595-EFD6-4111-82AA-6B3A3E3A0367}" dt="2022-03-03T14:53:17.525" v="1" actId="47"/>
        <pc:sldMkLst>
          <pc:docMk/>
          <pc:sldMk cId="236440730" sldId="409"/>
        </pc:sldMkLst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4FAD5D3-FB33-4007-98A7-71F9682AE523}"/>
    <pc:docChg chg="delSld">
      <pc:chgData name="Meyer Raphael (PAR-ES)" userId="79615dfe-ed48-4e74-a40f-4f7b034c1c27" providerId="ADAL" clId="{64FAD5D3-FB33-4007-98A7-71F9682AE523}" dt="2022-03-03T14:27:47.322" v="0" actId="47"/>
      <pc:docMkLst>
        <pc:docMk/>
      </pc:docMkLst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2168600751" sldId="409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1409086300" sldId="410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589059623" sldId="411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Weigel Stefan (PAR-EPS)" userId="fd3b2067-2981-4ad8-bf3a-d2e1004e4fa8" providerId="ADAL" clId="{514B821E-C160-4CBD-B6BF-E899341E90D7}"/>
    <pc:docChg chg="modSld">
      <pc:chgData name="Weigel Stefan (PAR-EPS)" userId="fd3b2067-2981-4ad8-bf3a-d2e1004e4fa8" providerId="ADAL" clId="{514B821E-C160-4CBD-B6BF-E899341E90D7}" dt="2024-02-01T17:14:18.702" v="15" actId="27918"/>
      <pc:docMkLst>
        <pc:docMk/>
      </pc:docMkLst>
      <pc:sldChg chg="mod">
        <pc:chgData name="Weigel Stefan (PAR-EPS)" userId="fd3b2067-2981-4ad8-bf3a-d2e1004e4fa8" providerId="ADAL" clId="{514B821E-C160-4CBD-B6BF-E899341E90D7}" dt="2024-02-01T17:14:18.702" v="15" actId="27918"/>
        <pc:sldMkLst>
          <pc:docMk/>
          <pc:sldMk cId="287567285" sldId="410"/>
        </pc:sldMkLst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019F8519-991A-42F8-8A00-1073315C524B}"/>
    <pc:docChg chg="custSel addSld delSld modSld sldOrd">
      <pc:chgData name="Meyer Raphael (PAR-ES)" userId="79615dfe-ed48-4e74-a40f-4f7b034c1c27" providerId="ADAL" clId="{019F8519-991A-42F8-8A00-1073315C524B}" dt="2022-03-03T14:42:21.972" v="53" actId="27918"/>
      <pc:docMkLst>
        <pc:docMk/>
      </pc:docMkLst>
      <pc:sldChg chg="modSp mod">
        <pc:chgData name="Meyer Raphael (PAR-ES)" userId="79615dfe-ed48-4e74-a40f-4f7b034c1c27" providerId="ADAL" clId="{019F8519-991A-42F8-8A00-1073315C524B}" dt="2022-03-03T14:34:57.432" v="7" actId="27918"/>
        <pc:sldMkLst>
          <pc:docMk/>
          <pc:sldMk cId="2001825019" sldId="407"/>
        </pc:sldMkLst>
        <pc:graphicFrameChg chg="mod">
          <ac:chgData name="Meyer Raphael (PAR-ES)" userId="79615dfe-ed48-4e74-a40f-4f7b034c1c27" providerId="ADAL" clId="{019F8519-991A-42F8-8A00-1073315C524B}" dt="2022-03-03T14:34:25.718" v="4"/>
          <ac:graphicFrameMkLst>
            <pc:docMk/>
            <pc:sldMk cId="2001825019" sldId="407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19F8519-991A-42F8-8A00-1073315C524B}" dt="2022-03-03T14:40:31.808" v="38" actId="27918"/>
        <pc:sldMkLst>
          <pc:docMk/>
          <pc:sldMk cId="2775483100" sldId="408"/>
        </pc:sldMkLst>
        <pc:spChg chg="mod">
          <ac:chgData name="Meyer Raphael (PAR-ES)" userId="79615dfe-ed48-4e74-a40f-4f7b034c1c27" providerId="ADAL" clId="{019F8519-991A-42F8-8A00-1073315C524B}" dt="2022-03-03T14:39:21.783" v="23"/>
          <ac:spMkLst>
            <pc:docMk/>
            <pc:sldMk cId="2775483100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19F8519-991A-42F8-8A00-1073315C524B}" dt="2022-03-03T14:39:35.158" v="25" actId="20577"/>
          <ac:spMkLst>
            <pc:docMk/>
            <pc:sldMk cId="2775483100" sldId="408"/>
            <ac:spMk id="8" creationId="{41FD5CBC-8C89-4499-B28B-5EC68806F1EB}"/>
          </ac:spMkLst>
        </pc:spChg>
        <pc:spChg chg="mod">
          <ac:chgData name="Meyer Raphael (PAR-ES)" userId="79615dfe-ed48-4e74-a40f-4f7b034c1c27" providerId="ADAL" clId="{019F8519-991A-42F8-8A00-1073315C524B}" dt="2022-03-03T14:39:57.410" v="31" actId="20577"/>
          <ac:spMkLst>
            <pc:docMk/>
            <pc:sldMk cId="2775483100" sldId="408"/>
            <ac:spMk id="10" creationId="{A3DB4B5C-8AF8-4D76-8E11-2708D9423565}"/>
          </ac:spMkLst>
        </pc:spChg>
      </pc:sldChg>
      <pc:sldChg chg="del">
        <pc:chgData name="Meyer Raphael (PAR-ES)" userId="79615dfe-ed48-4e74-a40f-4f7b034c1c27" providerId="ADAL" clId="{019F8519-991A-42F8-8A00-1073315C524B}" dt="2022-03-03T14:32:30.075" v="0" actId="47"/>
        <pc:sldMkLst>
          <pc:docMk/>
          <pc:sldMk cId="2820921500" sldId="408"/>
        </pc:sldMkLst>
      </pc:sldChg>
      <pc:sldChg chg="modSp add mod">
        <pc:chgData name="Meyer Raphael (PAR-ES)" userId="79615dfe-ed48-4e74-a40f-4f7b034c1c27" providerId="ADAL" clId="{019F8519-991A-42F8-8A00-1073315C524B}" dt="2022-03-03T14:42:21.972" v="53" actId="27918"/>
        <pc:sldMkLst>
          <pc:docMk/>
          <pc:sldMk cId="236440730" sldId="409"/>
        </pc:sldMkLst>
        <pc:spChg chg="mod">
          <ac:chgData name="Meyer Raphael (PAR-ES)" userId="79615dfe-ed48-4e74-a40f-4f7b034c1c27" providerId="ADAL" clId="{019F8519-991A-42F8-8A00-1073315C524B}" dt="2022-03-03T14:41:17.944" v="39"/>
          <ac:spMkLst>
            <pc:docMk/>
            <pc:sldMk cId="236440730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19F8519-991A-42F8-8A00-1073315C524B}" dt="2022-03-03T14:41:30.816" v="41" actId="20577"/>
          <ac:spMkLst>
            <pc:docMk/>
            <pc:sldMk cId="236440730" sldId="409"/>
            <ac:spMk id="8" creationId="{41FD5CBC-8C89-4499-B28B-5EC68806F1EB}"/>
          </ac:spMkLst>
        </pc:spChg>
        <pc:spChg chg="mod">
          <ac:chgData name="Meyer Raphael (PAR-ES)" userId="79615dfe-ed48-4e74-a40f-4f7b034c1c27" providerId="ADAL" clId="{019F8519-991A-42F8-8A00-1073315C524B}" dt="2022-03-03T14:41:48.239" v="46" actId="20577"/>
          <ac:spMkLst>
            <pc:docMk/>
            <pc:sldMk cId="236440730" sldId="409"/>
            <ac:spMk id="10" creationId="{A3DB4B5C-8AF8-4D76-8E11-2708D9423565}"/>
          </ac:spMkLst>
        </pc:spChg>
      </pc:sldChg>
      <pc:sldChg chg="modSp add mod ord">
        <pc:chgData name="Meyer Raphael (PAR-ES)" userId="79615dfe-ed48-4e74-a40f-4f7b034c1c27" providerId="ADAL" clId="{019F8519-991A-42F8-8A00-1073315C524B}" dt="2022-03-03T14:38:53.634" v="22"/>
        <pc:sldMkLst>
          <pc:docMk/>
          <pc:sldMk cId="287567285" sldId="410"/>
        </pc:sldMkLst>
        <pc:spChg chg="mod">
          <ac:chgData name="Meyer Raphael (PAR-ES)" userId="79615dfe-ed48-4e74-a40f-4f7b034c1c27" providerId="ADAL" clId="{019F8519-991A-42F8-8A00-1073315C524B}" dt="2022-03-03T14:36:27.101" v="11"/>
          <ac:spMkLst>
            <pc:docMk/>
            <pc:sldMk cId="287567285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19F8519-991A-42F8-8A00-1073315C524B}" dt="2022-03-03T14:36:37.807" v="13" actId="20577"/>
          <ac:spMkLst>
            <pc:docMk/>
            <pc:sldMk cId="287567285" sldId="410"/>
            <ac:spMk id="8" creationId="{41FD5CBC-8C89-4499-B28B-5EC68806F1EB}"/>
          </ac:spMkLst>
        </pc:sp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2AEED41-E137-44EA-8934-B896B264C2ED}"/>
    <pc:docChg chg="custSel addSld delSld modSld sldOrd">
      <pc:chgData name="Meyer Raphael (PAR-ES)" userId="79615dfe-ed48-4e74-a40f-4f7b034c1c27" providerId="ADAL" clId="{12AEED41-E137-44EA-8934-B896B264C2ED}" dt="2022-03-03T14:15:40.014" v="50"/>
      <pc:docMkLst>
        <pc:docMk/>
      </pc:docMkLst>
      <pc:sldChg chg="del">
        <pc:chgData name="Meyer Raphael (PAR-ES)" userId="79615dfe-ed48-4e74-a40f-4f7b034c1c27" providerId="ADAL" clId="{12AEED41-E137-44EA-8934-B896B264C2ED}" dt="2022-03-03T14:09:16.096" v="1" actId="47"/>
        <pc:sldMkLst>
          <pc:docMk/>
          <pc:sldMk cId="3808035539" sldId="270"/>
        </pc:sldMkLst>
      </pc:sldChg>
      <pc:sldChg chg="modSp">
        <pc:chgData name="Meyer Raphael (PAR-ES)" userId="79615dfe-ed48-4e74-a40f-4f7b034c1c27" providerId="ADAL" clId="{12AEED41-E137-44EA-8934-B896B264C2ED}" dt="2022-03-03T14:08:34.089" v="0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12AEED41-E137-44EA-8934-B896B264C2ED}" dt="2022-03-03T14:08:34.089" v="0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3:34.648" v="35"/>
        <pc:sldMkLst>
          <pc:docMk/>
          <pc:sldMk cId="2168600751" sldId="409"/>
        </pc:sldMkLst>
        <pc:spChg chg="mod">
          <ac:chgData name="Meyer Raphael (PAR-ES)" userId="79615dfe-ed48-4e74-a40f-4f7b034c1c27" providerId="ADAL" clId="{12AEED41-E137-44EA-8934-B896B264C2ED}" dt="2022-03-03T14:12:44.569" v="20"/>
          <ac:spMkLst>
            <pc:docMk/>
            <pc:sldMk cId="2168600751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2:50.797" v="26" actId="20577"/>
          <ac:spMkLst>
            <pc:docMk/>
            <pc:sldMk cId="2168600751" sldId="409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3:34.648" v="35"/>
          <ac:graphicFrameMkLst>
            <pc:docMk/>
            <pc:sldMk cId="2168600751" sldId="409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5:40.014" v="50"/>
        <pc:sldMkLst>
          <pc:docMk/>
          <pc:sldMk cId="1409086300" sldId="410"/>
        </pc:sldMkLst>
        <pc:spChg chg="mod">
          <ac:chgData name="Meyer Raphael (PAR-ES)" userId="79615dfe-ed48-4e74-a40f-4f7b034c1c27" providerId="ADAL" clId="{12AEED41-E137-44EA-8934-B896B264C2ED}" dt="2022-03-03T14:14:35.159" v="41"/>
          <ac:spMkLst>
            <pc:docMk/>
            <pc:sldMk cId="140908630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4:11.923" v="40" actId="20577"/>
          <ac:spMkLst>
            <pc:docMk/>
            <pc:sldMk cId="1409086300" sldId="410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5:40.014" v="50"/>
          <ac:graphicFrameMkLst>
            <pc:docMk/>
            <pc:sldMk cId="1409086300" sldId="410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12AEED41-E137-44EA-8934-B896B264C2ED}" dt="2022-03-03T14:11:59.515" v="19"/>
        <pc:sldMkLst>
          <pc:docMk/>
          <pc:sldMk cId="589059623" sldId="411"/>
        </pc:sldMkLst>
        <pc:spChg chg="mod">
          <ac:chgData name="Meyer Raphael (PAR-ES)" userId="79615dfe-ed48-4e74-a40f-4f7b034c1c27" providerId="ADAL" clId="{12AEED41-E137-44EA-8934-B896B264C2ED}" dt="2022-03-03T14:09:58.172" v="6" actId="6549"/>
          <ac:spMkLst>
            <pc:docMk/>
            <pc:sldMk cId="589059623" sldId="411"/>
            <ac:spMk id="2" creationId="{00000000-0000-0000-0000-000000000000}"/>
          </ac:spMkLst>
        </pc:spChg>
        <pc:graphicFrameChg chg="mod">
          <ac:chgData name="Meyer Raphael (PAR-ES)" userId="79615dfe-ed48-4e74-a40f-4f7b034c1c27" providerId="ADAL" clId="{12AEED41-E137-44EA-8934-B896B264C2ED}" dt="2022-03-03T14:11:59.515" v="19"/>
          <ac:graphicFrameMkLst>
            <pc:docMk/>
            <pc:sldMk cId="589059623" sldId="41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739DFE60-D730-4917-81EF-765A9D479C11}"/>
    <pc:docChg chg="custSel modSld">
      <pc:chgData name="Meyer Raphael (PAR-ES)" userId="79615dfe-ed48-4e74-a40f-4f7b034c1c27" providerId="ADAL" clId="{739DFE60-D730-4917-81EF-765A9D479C11}" dt="2023-02-24T11:03:26.577" v="4" actId="478"/>
      <pc:docMkLst>
        <pc:docMk/>
      </pc:docMkLst>
      <pc:sldChg chg="delSp mod">
        <pc:chgData name="Meyer Raphael (PAR-ES)" userId="79615dfe-ed48-4e74-a40f-4f7b034c1c27" providerId="ADAL" clId="{739DFE60-D730-4917-81EF-765A9D479C11}" dt="2023-02-24T11:03:26.577" v="4" actId="478"/>
        <pc:sldMkLst>
          <pc:docMk/>
          <pc:sldMk cId="287567285" sldId="410"/>
        </pc:sldMkLst>
        <pc:spChg chg="del">
          <ac:chgData name="Meyer Raphael (PAR-ES)" userId="79615dfe-ed48-4e74-a40f-4f7b034c1c27" providerId="ADAL" clId="{739DFE60-D730-4917-81EF-765A9D479C11}" dt="2023-02-24T11:03:26.577" v="4" actId="478"/>
          <ac:spMkLst>
            <pc:docMk/>
            <pc:sldMk cId="287567285" sldId="410"/>
            <ac:spMk id="11" creationId="{045A27AD-E3C8-4822-85DF-F2C9129A4E35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41A5B2EA-2907-4898-8BAD-7161CA34B4C3}"/>
    <pc:docChg chg="undo custSel modSld">
      <pc:chgData name="Meyer Raphael (PAR-ES)" userId="79615dfe-ed48-4e74-a40f-4f7b034c1c27" providerId="ADAL" clId="{41A5B2EA-2907-4898-8BAD-7161CA34B4C3}" dt="2022-03-03T13:54:34.303" v="122" actId="20577"/>
      <pc:docMkLst>
        <pc:docMk/>
      </pc:docMkLst>
      <pc:sldChg chg="modSp mod">
        <pc:chgData name="Meyer Raphael (PAR-ES)" userId="79615dfe-ed48-4e74-a40f-4f7b034c1c27" providerId="ADAL" clId="{41A5B2EA-2907-4898-8BAD-7161CA34B4C3}" dt="2022-03-03T13:51:34.741" v="61"/>
        <pc:sldMkLst>
          <pc:docMk/>
          <pc:sldMk cId="421447817" sldId="271"/>
        </pc:sldMkLst>
        <pc:spChg chg="mod">
          <ac:chgData name="Meyer Raphael (PAR-ES)" userId="79615dfe-ed48-4e74-a40f-4f7b034c1c27" providerId="ADAL" clId="{41A5B2EA-2907-4898-8BAD-7161CA34B4C3}" dt="2022-03-03T13:51:34.741" v="61"/>
          <ac:spMkLst>
            <pc:docMk/>
            <pc:sldMk cId="421447817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1:33.039" v="58" actId="1036"/>
          <ac:spMkLst>
            <pc:docMk/>
            <pc:sldMk cId="421447817" sldId="271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48:37.964" v="17" actId="20577"/>
          <ac:spMkLst>
            <pc:docMk/>
            <pc:sldMk cId="421447817" sldId="271"/>
            <ac:spMk id="12" creationId="{5951AA1F-1F78-4199-A377-9885C86C21AF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2:57.702" v="104" actId="20577"/>
        <pc:sldMkLst>
          <pc:docMk/>
          <pc:sldMk cId="1823063743" sldId="272"/>
        </pc:sldMkLst>
        <pc:spChg chg="mod">
          <ac:chgData name="Meyer Raphael (PAR-ES)" userId="79615dfe-ed48-4e74-a40f-4f7b034c1c27" providerId="ADAL" clId="{41A5B2EA-2907-4898-8BAD-7161CA34B4C3}" dt="2022-03-03T13:51:50.163" v="66" actId="20577"/>
          <ac:spMkLst>
            <pc:docMk/>
            <pc:sldMk cId="1823063743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2:24.458" v="90" actId="14100"/>
          <ac:spMkLst>
            <pc:docMk/>
            <pc:sldMk cId="1823063743" sldId="272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2:52.795" v="98" actId="20577"/>
          <ac:spMkLst>
            <pc:docMk/>
            <pc:sldMk cId="1823063743" sldId="272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2:57.702" v="104" actId="20577"/>
          <ac:spMkLst>
            <pc:docMk/>
            <pc:sldMk cId="1823063743" sldId="272"/>
            <ac:spMk id="13" creationId="{529F12DD-D362-4327-A51F-7014752CAD03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4:34.303" v="122" actId="20577"/>
        <pc:sldMkLst>
          <pc:docMk/>
          <pc:sldMk cId="3044751883" sldId="273"/>
        </pc:sldMkLst>
        <pc:spChg chg="mod">
          <ac:chgData name="Meyer Raphael (PAR-ES)" userId="79615dfe-ed48-4e74-a40f-4f7b034c1c27" providerId="ADAL" clId="{41A5B2EA-2907-4898-8BAD-7161CA34B4C3}" dt="2022-03-03T13:53:58.616" v="109" actId="20577"/>
          <ac:spMkLst>
            <pc:docMk/>
            <pc:sldMk cId="3044751883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4:11.854" v="110"/>
          <ac:spMkLst>
            <pc:docMk/>
            <pc:sldMk cId="3044751883" sldId="273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4:25.352" v="116" actId="20577"/>
          <ac:spMkLst>
            <pc:docMk/>
            <pc:sldMk cId="3044751883" sldId="273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4:34.303" v="122" actId="20577"/>
          <ac:spMkLst>
            <pc:docMk/>
            <pc:sldMk cId="3044751883" sldId="273"/>
            <ac:spMk id="13" creationId="{529F12DD-D362-4327-A51F-7014752CAD03}"/>
          </ac:spMkLst>
        </pc:sp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59F3F2DD-0AA0-41E9-9702-E67125B6C64F}"/>
    <pc:docChg chg="delSld">
      <pc:chgData name="Meyer Raphael (PAR-ES)" userId="79615dfe-ed48-4e74-a40f-4f7b034c1c27" providerId="ADAL" clId="{59F3F2DD-0AA0-41E9-9702-E67125B6C64F}" dt="2022-03-03T14:01:24.929" v="0" actId="47"/>
      <pc:docMkLst>
        <pc:docMk/>
      </pc:docMkLst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421447817" sldId="271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1823063743" sldId="272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3044751883" sldId="273"/>
        </pc:sldMkLst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962907529120849E-2"/>
          <c:y val="9.0509769134196866E-2"/>
          <c:w val="0.88406650614954119"/>
          <c:h val="0.7373309477450928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Passenger Division</c:v>
                </c:pt>
              </c:strCache>
            </c:strRef>
          </c:tx>
          <c:spPr>
            <a:solidFill>
              <a:srgbClr val="DCDCDC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14165.198333333299</c:v>
                </c:pt>
                <c:pt idx="1">
                  <c:v>14263.012500000001</c:v>
                </c:pt>
                <c:pt idx="2">
                  <c:v>14269.518333333301</c:v>
                </c:pt>
                <c:pt idx="3">
                  <c:v>14278.76</c:v>
                </c:pt>
                <c:pt idx="4">
                  <c:v>14234.0841666667</c:v>
                </c:pt>
                <c:pt idx="5">
                  <c:v>13989.9183333333</c:v>
                </c:pt>
                <c:pt idx="6">
                  <c:v>14192.7133333333</c:v>
                </c:pt>
                <c:pt idx="7">
                  <c:v>14680.4273333333</c:v>
                </c:pt>
                <c:pt idx="8">
                  <c:v>15055.8178333333</c:v>
                </c:pt>
                <c:pt idx="9">
                  <c:v>15124.152</c:v>
                </c:pt>
                <c:pt idx="10">
                  <c:v>15304.79033333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32-475B-9895-C8153D632F4B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Real Estate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D$9:$D$19</c:f>
              <c:numCache>
                <c:formatCode>#,##0</c:formatCode>
                <c:ptCount val="11"/>
                <c:pt idx="0">
                  <c:v>801.95666666666705</c:v>
                </c:pt>
                <c:pt idx="1">
                  <c:v>816.52</c:v>
                </c:pt>
                <c:pt idx="2">
                  <c:v>816.73749999999995</c:v>
                </c:pt>
                <c:pt idx="3">
                  <c:v>791.30833333333305</c:v>
                </c:pt>
                <c:pt idx="4">
                  <c:v>779.07666666666705</c:v>
                </c:pt>
                <c:pt idx="5">
                  <c:v>775.75833333333298</c:v>
                </c:pt>
                <c:pt idx="6">
                  <c:v>790.16250000000002</c:v>
                </c:pt>
                <c:pt idx="7">
                  <c:v>793.05</c:v>
                </c:pt>
                <c:pt idx="8">
                  <c:v>780.30416666666702</c:v>
                </c:pt>
                <c:pt idx="9">
                  <c:v>1012.3375</c:v>
                </c:pt>
                <c:pt idx="10">
                  <c:v>1111.9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32-475B-9895-C8153D632F4B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Freight Section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E$9:$E$19</c:f>
              <c:numCache>
                <c:formatCode>#,##0</c:formatCode>
                <c:ptCount val="11"/>
                <c:pt idx="0">
                  <c:v>3060.6058333333299</c:v>
                </c:pt>
                <c:pt idx="1">
                  <c:v>2995.4666666666699</c:v>
                </c:pt>
                <c:pt idx="2">
                  <c:v>3111.4358333333298</c:v>
                </c:pt>
                <c:pt idx="3">
                  <c:v>3075.0916666666699</c:v>
                </c:pt>
                <c:pt idx="4">
                  <c:v>3114.4974999999999</c:v>
                </c:pt>
                <c:pt idx="5">
                  <c:v>3084.3791666666698</c:v>
                </c:pt>
                <c:pt idx="6">
                  <c:v>3131.9108333333302</c:v>
                </c:pt>
                <c:pt idx="7">
                  <c:v>3225.45166666667</c:v>
                </c:pt>
                <c:pt idx="8">
                  <c:v>3222.3150000000001</c:v>
                </c:pt>
                <c:pt idx="9">
                  <c:v>3283.7908333333298</c:v>
                </c:pt>
                <c:pt idx="10">
                  <c:v>3382.06683333333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32-475B-9895-C8153D632F4B}"/>
            </c:ext>
          </c:extLst>
        </c:ser>
        <c:ser>
          <c:idx val="3"/>
          <c:order val="3"/>
          <c:tx>
            <c:strRef>
              <c:f>data!$F$8</c:f>
              <c:strCache>
                <c:ptCount val="1"/>
                <c:pt idx="0">
                  <c:v>Infrastructure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F$9:$F$19</c:f>
              <c:numCache>
                <c:formatCode>#,##0</c:formatCode>
                <c:ptCount val="11"/>
                <c:pt idx="0">
                  <c:v>10078.11</c:v>
                </c:pt>
                <c:pt idx="1">
                  <c:v>10375.9333333333</c:v>
                </c:pt>
                <c:pt idx="2">
                  <c:v>10313.2808333333</c:v>
                </c:pt>
                <c:pt idx="3">
                  <c:v>10322.555</c:v>
                </c:pt>
                <c:pt idx="4">
                  <c:v>10077.1675</c:v>
                </c:pt>
                <c:pt idx="5">
                  <c:v>9857.0010000000002</c:v>
                </c:pt>
                <c:pt idx="6">
                  <c:v>9776.7006666666693</c:v>
                </c:pt>
                <c:pt idx="7">
                  <c:v>9978.1352499999994</c:v>
                </c:pt>
                <c:pt idx="8">
                  <c:v>9999.1679999999997</c:v>
                </c:pt>
                <c:pt idx="9">
                  <c:v>9834.6158333333296</c:v>
                </c:pt>
                <c:pt idx="10">
                  <c:v>10060.21833333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832-475B-9895-C8153D632F4B}"/>
            </c:ext>
          </c:extLst>
        </c:ser>
        <c:ser>
          <c:idx val="4"/>
          <c:order val="4"/>
          <c:tx>
            <c:strRef>
              <c:f>data!$G$8</c:f>
              <c:strCache>
                <c:ptCount val="1"/>
                <c:pt idx="0">
                  <c:v>Group-level units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G$9:$G$19</c:f>
              <c:numCache>
                <c:formatCode>#,##0</c:formatCode>
                <c:ptCount val="11"/>
                <c:pt idx="0">
                  <c:v>3051.8458333333301</c:v>
                </c:pt>
                <c:pt idx="1">
                  <c:v>4405.7124999999996</c:v>
                </c:pt>
                <c:pt idx="2">
                  <c:v>4570.2008333333297</c:v>
                </c:pt>
                <c:pt idx="3">
                  <c:v>4650.9224999999997</c:v>
                </c:pt>
                <c:pt idx="4">
                  <c:v>4549.5791666666701</c:v>
                </c:pt>
                <c:pt idx="5">
                  <c:v>4601.68</c:v>
                </c:pt>
                <c:pt idx="6">
                  <c:v>4643.5958333333301</c:v>
                </c:pt>
                <c:pt idx="7">
                  <c:v>4821.2974999999997</c:v>
                </c:pt>
                <c:pt idx="8">
                  <c:v>4885.0749999999998</c:v>
                </c:pt>
                <c:pt idx="9">
                  <c:v>4972.0209999999997</c:v>
                </c:pt>
                <c:pt idx="10">
                  <c:v>5127.76683333333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267456"/>
        <c:axId val="164954496"/>
      </c:barChart>
      <c:lineChart>
        <c:grouping val="standard"/>
        <c:varyColors val="0"/>
        <c:ser>
          <c:idx val="5"/>
          <c:order val="5"/>
          <c:tx>
            <c:strRef>
              <c:f>data!$H$8</c:f>
              <c:strCache>
                <c:ptCount val="1"/>
                <c:pt idx="0">
                  <c:v>Female employees</c:v>
                </c:pt>
              </c:strCache>
            </c:strRef>
          </c:tx>
          <c:spPr>
            <a:ln>
              <a:solidFill>
                <a:srgbClr val="EB0000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H$9:$H$19</c:f>
              <c:numCache>
                <c:formatCode>#,##0.0</c:formatCode>
                <c:ptCount val="11"/>
                <c:pt idx="0">
                  <c:v>16.413112909556698</c:v>
                </c:pt>
                <c:pt idx="1">
                  <c:v>16.706779904993098</c:v>
                </c:pt>
                <c:pt idx="2">
                  <c:v>16.869850128369801</c:v>
                </c:pt>
                <c:pt idx="3">
                  <c:v>16.9864016168254</c:v>
                </c:pt>
                <c:pt idx="4">
                  <c:v>17.086566956641398</c:v>
                </c:pt>
                <c:pt idx="5">
                  <c:v>17.294466952361901</c:v>
                </c:pt>
                <c:pt idx="6">
                  <c:v>17.743488314596998</c:v>
                </c:pt>
                <c:pt idx="7">
                  <c:v>18.388368529331199</c:v>
                </c:pt>
                <c:pt idx="8">
                  <c:v>18.807508997179099</c:v>
                </c:pt>
                <c:pt idx="9">
                  <c:v>19.004231973653201</c:v>
                </c:pt>
                <c:pt idx="10">
                  <c:v>19.4342755792735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5049088"/>
        <c:axId val="164956032"/>
      </c:lineChart>
      <c:catAx>
        <c:axId val="137267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000">
                <a:solidFill>
                  <a:srgbClr val="444444"/>
                </a:solidFill>
              </a:defRPr>
            </a:pPr>
            <a:endParaRPr lang="de-DE"/>
          </a:p>
        </c:txPr>
        <c:crossAx val="164954496"/>
        <c:crosses val="autoZero"/>
        <c:auto val="1"/>
        <c:lblAlgn val="ctr"/>
        <c:lblOffset val="100"/>
        <c:noMultiLvlLbl val="0"/>
      </c:catAx>
      <c:valAx>
        <c:axId val="164954496"/>
        <c:scaling>
          <c:orientation val="minMax"/>
          <c:max val="4000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0">
                <a:solidFill>
                  <a:srgbClr val="444444"/>
                </a:solidFill>
              </a:defRPr>
            </a:pPr>
            <a:endParaRPr lang="de-DE"/>
          </a:p>
        </c:txPr>
        <c:crossAx val="137267456"/>
        <c:crosses val="autoZero"/>
        <c:crossBetween val="between"/>
        <c:majorUnit val="10000"/>
      </c:valAx>
      <c:valAx>
        <c:axId val="164956032"/>
        <c:scaling>
          <c:orientation val="minMax"/>
          <c:max val="40"/>
        </c:scaling>
        <c:delete val="0"/>
        <c:axPos val="r"/>
        <c:numFmt formatCode="#,##0" sourceLinked="0"/>
        <c:majorTickMark val="none"/>
        <c:minorTickMark val="none"/>
        <c:tickLblPos val="nextTo"/>
        <c:spPr>
          <a:ln>
            <a:noFill/>
          </a:ln>
        </c:spPr>
        <c:txPr>
          <a:bodyPr anchor="ctr" anchorCtr="1"/>
          <a:lstStyle/>
          <a:p>
            <a:pPr algn="just">
              <a:defRPr sz="1000"/>
            </a:pPr>
            <a:endParaRPr lang="de-DE"/>
          </a:p>
        </c:txPr>
        <c:crossAx val="165049088"/>
        <c:crosses val="max"/>
        <c:crossBetween val="between"/>
        <c:majorUnit val="10"/>
      </c:valAx>
      <c:catAx>
        <c:axId val="1650490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032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8.747283139194377E-2"/>
          <c:y val="0.89094027760027861"/>
          <c:w val="0.91252709637295903"/>
          <c:h val="0.106874244744039"/>
        </c:manualLayout>
      </c:layout>
      <c:overlay val="0"/>
      <c:txPr>
        <a:bodyPr/>
        <a:lstStyle/>
        <a:p>
          <a:pPr>
            <a:defRPr sz="10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03535</cdr:x>
      <cdr:y>0.0587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0"/>
          <a:ext cx="325934" cy="2342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00" dirty="0">
              <a:solidFill>
                <a:srgbClr val="444444"/>
              </a:solidFill>
              <a:latin typeface="Arial" pitchFamily="34" charset="0"/>
              <a:cs typeface="Arial" pitchFamily="34" charset="0"/>
            </a:rPr>
            <a:t>FTE</a:t>
          </a:r>
          <a:endParaRPr lang="de-CH" sz="105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90779</cdr:x>
      <cdr:y>0</cdr:y>
    </cdr:from>
    <cdr:to>
      <cdr:x>1</cdr:x>
      <cdr:y>0.05871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370040" y="0"/>
          <a:ext cx="850160" cy="23428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r>
            <a:rPr lang="de-CH" sz="1000" dirty="0">
              <a:solidFill>
                <a:srgbClr val="444444"/>
              </a:solidFill>
              <a:latin typeface="Arial" pitchFamily="34" charset="0"/>
              <a:cs typeface="Arial" pitchFamily="34" charset="0"/>
            </a:rPr>
            <a:t>% </a:t>
          </a:r>
          <a:r>
            <a:rPr lang="en-US" sz="1000" dirty="0"/>
            <a:t>employees</a:t>
          </a:r>
          <a:endParaRPr lang="de-CH" sz="100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2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63649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7D3BC8C-7961-4039-9EF6-F9847B8D1E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7D3BC8C-7961-4039-9EF6-F9847B8D1E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F927938-3630-4B34-8EB8-188D55E055D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BB </a:t>
            </a:r>
            <a:r>
              <a:rPr lang="de-CH" dirty="0" err="1"/>
              <a:t>workforce</a:t>
            </a:r>
            <a:r>
              <a:rPr lang="de-CH" dirty="0"/>
              <a:t>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061218150"/>
              </p:ext>
            </p:extLst>
          </p:nvPr>
        </p:nvGraphicFramePr>
        <p:xfrm>
          <a:off x="1494169" y="1886296"/>
          <a:ext cx="9220200" cy="39906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41FD5CBC-8C89-4499-B28B-5EC68806F1EB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Yearly average workforce in full-time equivalents of the SBB Group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3DB4B5C-8AF8-4D76-8E11-2708D9423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875672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ndpy9QStuzu2K.2eC49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9DC393D-50AC-4F83-96B8-4EBCD4DF733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microsoft.com/office/infopath/2007/PartnerControls"/>
    <ds:schemaRef ds:uri="96e82a89-ba48-4728-b345-cf206dbec8f1"/>
    <ds:schemaRef ds:uri="http://purl.org/dc/terms/"/>
    <ds:schemaRef ds:uri="http://www.w3.org/XML/1998/namespace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2f5c8543-cf23-4718-a3b8-32b0a91d511a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5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SBB workforce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BB workforce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4-02-02T11:53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